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1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0000"/>
    <a:srgbClr val="8D8D8D"/>
    <a:srgbClr val="E5E5E5"/>
    <a:srgbClr val="C60018"/>
    <a:srgbClr val="BDBDBD"/>
    <a:srgbClr val="A20013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624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Weigel Stefan (PAR-EPS)" userId="fd3b2067-2981-4ad8-bf3a-d2e1004e4fa8" providerId="ADAL" clId="{93EEF307-DEBD-477D-B83C-2716F6811994}"/>
    <pc:docChg chg="modSld">
      <pc:chgData name="Weigel Stefan (PAR-EPS)" userId="fd3b2067-2981-4ad8-bf3a-d2e1004e4fa8" providerId="ADAL" clId="{93EEF307-DEBD-477D-B83C-2716F6811994}" dt="2023-11-21T15:04:18.808" v="0" actId="20577"/>
      <pc:docMkLst>
        <pc:docMk/>
      </pc:docMkLst>
      <pc:sldChg chg="modSp mod">
        <pc:chgData name="Weigel Stefan (PAR-EPS)" userId="fd3b2067-2981-4ad8-bf3a-d2e1004e4fa8" providerId="ADAL" clId="{93EEF307-DEBD-477D-B83C-2716F6811994}" dt="2023-11-21T15:04:18.808" v="0" actId="20577"/>
        <pc:sldMkLst>
          <pc:docMk/>
          <pc:sldMk cId="2641487227" sldId="271"/>
        </pc:sldMkLst>
        <pc:spChg chg="mod">
          <ac:chgData name="Weigel Stefan (PAR-EPS)" userId="fd3b2067-2981-4ad8-bf3a-d2e1004e4fa8" providerId="ADAL" clId="{93EEF307-DEBD-477D-B83C-2716F6811994}" dt="2023-11-21T15:04:18.808" v="0" actId="20577"/>
          <ac:spMkLst>
            <pc:docMk/>
            <pc:sldMk cId="2641487227" sldId="271"/>
            <ac:spMk id="6" creationId="{0148E78D-7FBB-46BC-A7E3-0EFE6D9E4679}"/>
          </ac:spMkLst>
        </pc:sp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Weigel Stefan (PAR-EPS)" userId="fd3b2067-2981-4ad8-bf3a-d2e1004e4fa8" providerId="ADAL" clId="{C2496F8F-2B7C-4170-B352-1C3B9BD92FBC}"/>
    <pc:docChg chg="modSld">
      <pc:chgData name="Weigel Stefan (PAR-EPS)" userId="fd3b2067-2981-4ad8-bf3a-d2e1004e4fa8" providerId="ADAL" clId="{C2496F8F-2B7C-4170-B352-1C3B9BD92FBC}" dt="2024-02-28T10:00:42.007" v="9" actId="27918"/>
      <pc:docMkLst>
        <pc:docMk/>
      </pc:docMkLst>
      <pc:sldChg chg="mod">
        <pc:chgData name="Weigel Stefan (PAR-EPS)" userId="fd3b2067-2981-4ad8-bf3a-d2e1004e4fa8" providerId="ADAL" clId="{C2496F8F-2B7C-4170-B352-1C3B9BD92FBC}" dt="2024-02-28T10:00:42.007" v="9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17F9DA03-FCFD-4DFF-A08A-53EA0617A0F0}"/>
    <pc:docChg chg="modSld">
      <pc:chgData name="Meyer Raphael (PAR-ES)" userId="79615dfe-ed48-4e74-a40f-4f7b034c1c27" providerId="ADAL" clId="{17F9DA03-FCFD-4DFF-A08A-53EA0617A0F0}" dt="2022-03-10T10:33:39.285" v="7" actId="27918"/>
      <pc:docMkLst>
        <pc:docMk/>
      </pc:docMkLst>
      <pc:sldChg chg="modSp mod">
        <pc:chgData name="Meyer Raphael (PAR-ES)" userId="79615dfe-ed48-4e74-a40f-4f7b034c1c27" providerId="ADAL" clId="{17F9DA03-FCFD-4DFF-A08A-53EA0617A0F0}" dt="2022-03-10T10:33:39.285" v="7" actId="27918"/>
        <pc:sldMkLst>
          <pc:docMk/>
          <pc:sldMk cId="2641487227" sldId="271"/>
        </pc:sldMkLst>
        <pc:graphicFrameChg chg="mod">
          <ac:chgData name="Meyer Raphael (PAR-ES)" userId="79615dfe-ed48-4e74-a40f-4f7b034c1c27" providerId="ADAL" clId="{17F9DA03-FCFD-4DFF-A08A-53EA0617A0F0}" dt="2022-03-10T10:28:14.961" v="3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196AD30-D876-4B3F-BA6F-CB621157CDD9}"/>
    <pc:docChg chg="modSld">
      <pc:chgData name="Weigel Stefan (PAR-EPS)" userId="fd3b2067-2981-4ad8-bf3a-d2e1004e4fa8" providerId="ADAL" clId="{A196AD30-D876-4B3F-BA6F-CB621157CDD9}" dt="2024-02-02T08:57:54.416" v="10" actId="27918"/>
      <pc:docMkLst>
        <pc:docMk/>
      </pc:docMkLst>
      <pc:sldChg chg="mod">
        <pc:chgData name="Weigel Stefan (PAR-EPS)" userId="fd3b2067-2981-4ad8-bf3a-d2e1004e4fa8" providerId="ADAL" clId="{A196AD30-D876-4B3F-BA6F-CB621157CDD9}" dt="2024-02-02T08:57:54.416" v="10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Weigel Stefan (PAR-ES)" userId="fd3b2067-2981-4ad8-bf3a-d2e1004e4fa8" providerId="ADAL" clId="{FAE3F9CC-569E-4C69-93AA-E874C5D2932C}"/>
    <pc:docChg chg="modSld">
      <pc:chgData name="Weigel Stefan (PAR-ES)" userId="fd3b2067-2981-4ad8-bf3a-d2e1004e4fa8" providerId="ADAL" clId="{FAE3F9CC-569E-4C69-93AA-E874C5D2932C}" dt="2023-01-31T17:51:10.794" v="27"/>
      <pc:docMkLst>
        <pc:docMk/>
      </pc:docMkLst>
      <pc:sldChg chg="modSp mod">
        <pc:chgData name="Weigel Stefan (PAR-ES)" userId="fd3b2067-2981-4ad8-bf3a-d2e1004e4fa8" providerId="ADAL" clId="{FAE3F9CC-569E-4C69-93AA-E874C5D2932C}" dt="2023-01-31T17:51:10.794" v="27"/>
        <pc:sldMkLst>
          <pc:docMk/>
          <pc:sldMk cId="2641487227" sldId="271"/>
        </pc:sldMkLst>
        <pc:spChg chg="mod">
          <ac:chgData name="Weigel Stefan (PAR-ES)" userId="fd3b2067-2981-4ad8-bf3a-d2e1004e4fa8" providerId="ADAL" clId="{FAE3F9CC-569E-4C69-93AA-E874C5D2932C}" dt="2023-01-25T14:30:43.867" v="1" actId="20577"/>
          <ac:spMkLst>
            <pc:docMk/>
            <pc:sldMk cId="2641487227" sldId="271"/>
            <ac:spMk id="6" creationId="{0148E78D-7FBB-46BC-A7E3-0EFE6D9E4679}"/>
          </ac:spMkLst>
        </pc:spChg>
        <pc:graphicFrameChg chg="mod">
          <ac:chgData name="Weigel Stefan (PAR-ES)" userId="fd3b2067-2981-4ad8-bf3a-d2e1004e4fa8" providerId="ADAL" clId="{FAE3F9CC-569E-4C69-93AA-E874C5D2932C}" dt="2023-01-31T17:51:10.794" v="27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FDD1772C-B031-46F5-A515-E4DDECED7A4D}"/>
    <pc:docChg chg="modSld">
      <pc:chgData name="Weigel Stefan (PAR-EPS)" userId="fd3b2067-2981-4ad8-bf3a-d2e1004e4fa8" providerId="ADAL" clId="{FDD1772C-B031-46F5-A515-E4DDECED7A4D}" dt="2023-11-21T11:41:49.907" v="64" actId="27918"/>
      <pc:docMkLst>
        <pc:docMk/>
      </pc:docMkLst>
      <pc:sldChg chg="modSp mod">
        <pc:chgData name="Weigel Stefan (PAR-EPS)" userId="fd3b2067-2981-4ad8-bf3a-d2e1004e4fa8" providerId="ADAL" clId="{FDD1772C-B031-46F5-A515-E4DDECED7A4D}" dt="2023-11-21T11:41:49.907" v="64" actId="27918"/>
        <pc:sldMkLst>
          <pc:docMk/>
          <pc:sldMk cId="2641487227" sldId="271"/>
        </pc:sldMkLst>
        <pc:spChg chg="mod">
          <ac:chgData name="Weigel Stefan (PAR-EPS)" userId="fd3b2067-2981-4ad8-bf3a-d2e1004e4fa8" providerId="ADAL" clId="{FDD1772C-B031-46F5-A515-E4DDECED7A4D}" dt="2023-11-20T15:32:03.773" v="23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FDD1772C-B031-46F5-A515-E4DDECED7A4D}" dt="2023-11-21T08:21:01.830" v="39" actId="6549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6949456911378"/>
          <c:y val="8.4183124704045473E-2"/>
          <c:w val="0.77970737914140231"/>
          <c:h val="0.8286105658911231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717-4190-826F-80A673570E12}"/>
              </c:ext>
            </c:extLst>
          </c:dPt>
          <c:dPt>
            <c:idx val="15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5-408D-489A-906B-9FD15EDC6DBC}"/>
              </c:ext>
            </c:extLst>
          </c:dPt>
          <c:val>
            <c:numRef>
              <c:f>data!$I$3:$I$18</c:f>
              <c:numCache>
                <c:formatCode>0</c:formatCode>
                <c:ptCount val="16"/>
                <c:pt idx="0">
                  <c:v>304.17453435051698</c:v>
                </c:pt>
                <c:pt idx="1">
                  <c:v>560.94169704265903</c:v>
                </c:pt>
                <c:pt idx="2">
                  <c:v>571.97518831600098</c:v>
                </c:pt>
                <c:pt idx="3">
                  <c:v>648.28783664332798</c:v>
                </c:pt>
                <c:pt idx="4">
                  <c:v>775.41062093442099</c:v>
                </c:pt>
                <c:pt idx="5">
                  <c:v>790.10082409021504</c:v>
                </c:pt>
                <c:pt idx="6">
                  <c:v>821.71542981001005</c:v>
                </c:pt>
                <c:pt idx="7">
                  <c:v>823.88945928553403</c:v>
                </c:pt>
                <c:pt idx="8">
                  <c:v>867.60331004423995</c:v>
                </c:pt>
                <c:pt idx="9">
                  <c:v>960.065163159706</c:v>
                </c:pt>
                <c:pt idx="10">
                  <c:v>1074.7297920964199</c:v>
                </c:pt>
                <c:pt idx="11">
                  <c:v>1094.2895199667601</c:v>
                </c:pt>
                <c:pt idx="12">
                  <c:v>1224.05849477017</c:v>
                </c:pt>
                <c:pt idx="13">
                  <c:v>1411.8969700724001</c:v>
                </c:pt>
                <c:pt idx="14">
                  <c:v>1510.40028281185</c:v>
                </c:pt>
                <c:pt idx="15">
                  <c:v>2178.7805092815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11-4BE3-9E26-ED344772E0FA}"/>
            </c:ext>
          </c:extLst>
        </c:ser>
        <c:ser>
          <c:idx val="0"/>
          <c:order val="1"/>
          <c:tx>
            <c:strRef>
              <c:f>data!$H$2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E5E5E5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0EB-4086-B314-698BDD6187D3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0EB-4086-B314-698BDD6187D3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0EB-4086-B314-698BDD6187D3}"/>
              </c:ext>
            </c:extLst>
          </c:dPt>
          <c:cat>
            <c:strRef>
              <c:f>data!$G$3:$G$18</c:f>
              <c:strCache>
                <c:ptCount val="16"/>
                <c:pt idx="0">
                  <c:v>Rumänien</c:v>
                </c:pt>
                <c:pt idx="1">
                  <c:v>Norwegen</c:v>
                </c:pt>
                <c:pt idx="2">
                  <c:v>Spanien</c:v>
                </c:pt>
                <c:pt idx="3">
                  <c:v>Polen</c:v>
                </c:pt>
                <c:pt idx="4">
                  <c:v>Grossbritannien</c:v>
                </c:pt>
                <c:pt idx="5">
                  <c:v>Italien</c:v>
                </c:pt>
                <c:pt idx="6">
                  <c:v>Finnland</c:v>
                </c:pt>
                <c:pt idx="7">
                  <c:v>Belgien</c:v>
                </c:pt>
                <c:pt idx="8">
                  <c:v>Tschechien</c:v>
                </c:pt>
                <c:pt idx="9">
                  <c:v>Niederlande</c:v>
                </c:pt>
                <c:pt idx="10">
                  <c:v>Dänemark</c:v>
                </c:pt>
                <c:pt idx="11">
                  <c:v>Deutschland</c:v>
                </c:pt>
                <c:pt idx="12">
                  <c:v>Schweden</c:v>
                </c:pt>
                <c:pt idx="13">
                  <c:v>Österreich</c:v>
                </c:pt>
                <c:pt idx="14">
                  <c:v>Frankreich</c:v>
                </c:pt>
                <c:pt idx="15">
                  <c:v>Schweiz</c:v>
                </c:pt>
              </c:strCache>
            </c:strRef>
          </c:cat>
          <c:val>
            <c:numRef>
              <c:f>data!$H$3:$H$18</c:f>
              <c:numCache>
                <c:formatCode>0</c:formatCode>
                <c:ptCount val="16"/>
                <c:pt idx="0">
                  <c:v>305.55380514855602</c:v>
                </c:pt>
                <c:pt idx="1">
                  <c:v>692.11823577850703</c:v>
                </c:pt>
                <c:pt idx="2">
                  <c:v>609.45292393950604</c:v>
                </c:pt>
                <c:pt idx="3">
                  <c:v>581.06116796350796</c:v>
                </c:pt>
                <c:pt idx="4">
                  <c:v>1066.9888871370799</c:v>
                </c:pt>
                <c:pt idx="5">
                  <c:v>948.769085036913</c:v>
                </c:pt>
                <c:pt idx="6">
                  <c:v>891.17462027346198</c:v>
                </c:pt>
                <c:pt idx="7">
                  <c:v>941.55404584445705</c:v>
                </c:pt>
                <c:pt idx="8">
                  <c:v>1015.15447207993</c:v>
                </c:pt>
                <c:pt idx="9">
                  <c:v>1114.4567152766999</c:v>
                </c:pt>
                <c:pt idx="10">
                  <c:v>1060.3213628993699</c:v>
                </c:pt>
                <c:pt idx="11">
                  <c:v>1205.43422716332</c:v>
                </c:pt>
                <c:pt idx="12">
                  <c:v>1415.3351764869799</c:v>
                </c:pt>
                <c:pt idx="13">
                  <c:v>1488.8107758802801</c:v>
                </c:pt>
                <c:pt idx="14">
                  <c:v>1430.5288640316101</c:v>
                </c:pt>
                <c:pt idx="15">
                  <c:v>2505.1031061581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0EB-4086-B314-698BDD618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65451520"/>
        <c:axId val="65449984"/>
      </c:barChart>
      <c:valAx>
        <c:axId val="65449984"/>
        <c:scaling>
          <c:orientation val="minMax"/>
          <c:max val="30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chemeClr val="tx2"/>
                </a:solidFill>
              </a:defRPr>
            </a:pPr>
            <a:endParaRPr lang="de-DE"/>
          </a:p>
        </c:txPr>
        <c:crossAx val="65451520"/>
        <c:crosses val="autoZero"/>
        <c:crossBetween val="between"/>
        <c:majorUnit val="500"/>
      </c:valAx>
      <c:catAx>
        <c:axId val="6545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sz="1000">
                <a:solidFill>
                  <a:schemeClr val="tx2"/>
                </a:solidFill>
              </a:defRPr>
            </a:pPr>
            <a:endParaRPr lang="de-DE"/>
          </a:p>
        </c:txPr>
        <c:crossAx val="65449984"/>
        <c:crosses val="autoZero"/>
        <c:auto val="1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92385781189060756"/>
          <c:y val="1.4393958798823004E-2"/>
          <c:w val="4.9926596467412362E-2"/>
          <c:h val="7.5486226794841654E-2"/>
        </c:manualLayout>
      </c:layout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9248</cdr:x>
      <cdr:y>0.03028</cdr:y>
    </cdr:from>
    <cdr:to>
      <cdr:x>1</cdr:x>
      <cdr:y>0.0886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606259" y="133582"/>
          <a:ext cx="72768" cy="2573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endParaRPr lang="de-CH" sz="1200" dirty="0">
            <a:solidFill>
              <a:srgbClr val="444444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95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 dirty="0"/>
              <a:t>Personenverkehrsnachfrage in Europa.</a:t>
            </a:r>
            <a:br>
              <a:rPr lang="de-CH" dirty="0"/>
            </a:br>
            <a:endParaRPr lang="de-CH" sz="14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347711894"/>
              </p:ext>
            </p:extLst>
          </p:nvPr>
        </p:nvGraphicFramePr>
        <p:xfrm>
          <a:off x="1027866" y="1487577"/>
          <a:ext cx="9676646" cy="441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CH" sz="1400" spc="30" dirty="0">
                <a:solidFill>
                  <a:schemeClr val="accent3"/>
                </a:solidFill>
              </a:rPr>
              <a:t>Mit der Eisenbahn zurückgelegte Kilometer pro </a:t>
            </a:r>
            <a:r>
              <a:rPr lang="de-CH" sz="1400" spc="30" dirty="0" err="1">
                <a:solidFill>
                  <a:schemeClr val="accent3"/>
                </a:solidFill>
              </a:rPr>
              <a:t>Einwohner·in</a:t>
            </a:r>
            <a:r>
              <a:rPr lang="de-CH" sz="1400" spc="30" dirty="0">
                <a:solidFill>
                  <a:schemeClr val="accent3"/>
                </a:solidFill>
              </a:rPr>
              <a:t> </a:t>
            </a:r>
            <a:r>
              <a:rPr lang="de-CH" sz="1400" spc="30">
                <a:solidFill>
                  <a:schemeClr val="accent3"/>
                </a:solidFill>
              </a:rPr>
              <a:t>im 2022.</a:t>
            </a: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CH" sz="800" kern="0" dirty="0">
                <a:solidFill>
                  <a:srgbClr val="444444"/>
                </a:solidFill>
              </a:rPr>
              <a:t>Quellen: Eurostat, OECD, ORR, ON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00" kern="0" spc="0" dirty="0">
                <a:solidFill>
                  <a:srgbClr val="444444"/>
                </a:solidFill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4148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E890F6A-B8FE-4955-8781-2139D48611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ersonenverkehrsnachfrage in Europa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28T12:0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